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8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5" r:id="rId10"/>
    <p:sldId id="267" r:id="rId11"/>
    <p:sldId id="269" r:id="rId12"/>
    <p:sldId id="273" r:id="rId13"/>
    <p:sldId id="274" r:id="rId14"/>
    <p:sldId id="270" r:id="rId15"/>
    <p:sldId id="271" r:id="rId16"/>
    <p:sldId id="272" r:id="rId1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63" d="100"/>
          <a:sy n="63" d="100"/>
        </p:scale>
        <p:origin x="77" y="3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8C839A-57EA-4923-AA88-687AF6F20A20}" type="datetimeFigureOut">
              <a:rPr lang="en-IN" smtClean="0"/>
              <a:t>24-08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C67EA5-32D0-4F5D-9F03-E75FE746EC9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11011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C67EA5-32D0-4F5D-9F03-E75FE746EC9C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44030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Oval 9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6440" y="2226503"/>
            <a:ext cx="5917679" cy="255087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6440" y="4777380"/>
            <a:ext cx="5917679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7498080" y="1828800"/>
            <a:ext cx="990599" cy="22865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6236208" y="3264408"/>
            <a:ext cx="3859795" cy="228660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137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10204164">
              <a:off x="426788" y="4564241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6" name="Rectangle 15"/>
            <p:cNvSpPr/>
            <p:nvPr/>
          </p:nvSpPr>
          <p:spPr>
            <a:xfrm>
              <a:off x="421503" y="402165"/>
              <a:ext cx="8327939" cy="31411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 bwMode="gray">
            <a:xfrm rot="10800000">
              <a:off x="485023" y="2670079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0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1" y="4961454"/>
            <a:ext cx="642200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66441" y="685800"/>
            <a:ext cx="6422004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866440" y="5528192"/>
            <a:ext cx="6422004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514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21010068">
              <a:off x="6359946" y="2780895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9" name="Rectangle 8"/>
            <p:cNvSpPr/>
            <p:nvPr/>
          </p:nvSpPr>
          <p:spPr>
            <a:xfrm>
              <a:off x="485023" y="4343399"/>
              <a:ext cx="8182128" cy="21124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 bwMode="gray">
            <a:xfrm>
              <a:off x="485023" y="2854646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927100"/>
            <a:ext cx="6422005" cy="1692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866440" y="3488023"/>
            <a:ext cx="6422005" cy="2536857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0305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21010068">
              <a:off x="6359946" y="4309201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10"/>
            <p:cNvSpPr/>
            <p:nvPr/>
          </p:nvSpPr>
          <p:spPr bwMode="gray">
            <a:xfrm>
              <a:off x="485023" y="4381500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4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3" name="TextBox 22"/>
          <p:cNvSpPr txBox="1"/>
          <p:nvPr/>
        </p:nvSpPr>
        <p:spPr bwMode="gray">
          <a:xfrm>
            <a:off x="647430" y="651690"/>
            <a:ext cx="6015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7069418" y="2900292"/>
            <a:ext cx="6190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8060" y="927099"/>
            <a:ext cx="6160385" cy="2882179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387278" y="3809278"/>
            <a:ext cx="5646143" cy="333113"/>
          </a:xfrm>
        </p:spPr>
        <p:txBody>
          <a:bodyPr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866440" y="5000816"/>
            <a:ext cx="6343673" cy="101061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6595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Oval 10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5"/>
            <p:cNvSpPr/>
            <p:nvPr/>
          </p:nvSpPr>
          <p:spPr bwMode="gray">
            <a:xfrm rot="21010068">
              <a:off x="6359946" y="431124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7"/>
            <p:cNvSpPr/>
            <p:nvPr/>
          </p:nvSpPr>
          <p:spPr bwMode="gray">
            <a:xfrm>
              <a:off x="485023" y="4381500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7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2057400"/>
            <a:ext cx="6422005" cy="20955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441" y="5024908"/>
            <a:ext cx="6422004" cy="994891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3250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927100"/>
            <a:ext cx="6423593" cy="70986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440" y="2489200"/>
            <a:ext cx="2313432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5"/>
          </p:nvPr>
        </p:nvSpPr>
        <p:spPr>
          <a:xfrm>
            <a:off x="866440" y="3147164"/>
            <a:ext cx="2313432" cy="2888366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05614" y="2489200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6"/>
          </p:nvPr>
        </p:nvSpPr>
        <p:spPr>
          <a:xfrm>
            <a:off x="3408471" y="3147164"/>
            <a:ext cx="2318918" cy="2888366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58642" y="2489200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7"/>
          </p:nvPr>
        </p:nvSpPr>
        <p:spPr>
          <a:xfrm>
            <a:off x="5960935" y="3147164"/>
            <a:ext cx="2316625" cy="2888366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94530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849521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668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927100"/>
            <a:ext cx="6345260" cy="70986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440" y="4179596"/>
            <a:ext cx="2313432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9055" y="2489200"/>
            <a:ext cx="2015144" cy="1447342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66439" y="4837558"/>
            <a:ext cx="2313432" cy="1187321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11125" y="4179595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553189" y="2489200"/>
            <a:ext cx="2015144" cy="1447342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3411125" y="4848208"/>
            <a:ext cx="2318918" cy="1187321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58642" y="4179596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6108641" y="2489200"/>
            <a:ext cx="2015144" cy="1447342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5958642" y="4837558"/>
            <a:ext cx="2318918" cy="1187321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3290019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5849521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857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1301" y="6387910"/>
            <a:ext cx="990599" cy="228659"/>
          </a:xfrm>
        </p:spPr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6133" y="6387910"/>
            <a:ext cx="3859795" cy="22866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5709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588" y="0"/>
            <a:ext cx="9120420" cy="6860798"/>
            <a:chOff x="-1588" y="0"/>
            <a:chExt cx="9120420" cy="6860798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Freeform 5"/>
            <p:cNvSpPr/>
            <p:nvPr/>
          </p:nvSpPr>
          <p:spPr bwMode="gray">
            <a:xfrm rot="4966650">
              <a:off x="4673046" y="5107506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</p:grpSp>
      <p:sp>
        <p:nvSpPr>
          <p:cNvPr id="17" name="Rectangle 16"/>
          <p:cNvSpPr/>
          <p:nvPr/>
        </p:nvSpPr>
        <p:spPr>
          <a:xfrm>
            <a:off x="414867" y="402165"/>
            <a:ext cx="4610565" cy="605367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Freeform 9"/>
          <p:cNvSpPr/>
          <p:nvPr/>
        </p:nvSpPr>
        <p:spPr bwMode="gray">
          <a:xfrm rot="5400000">
            <a:off x="1299309" y="1765596"/>
            <a:ext cx="5995993" cy="3326809"/>
          </a:xfrm>
          <a:custGeom>
            <a:avLst/>
            <a:gdLst/>
            <a:ahLst/>
            <a:cxnLst/>
            <a:rect l="0" t="0" r="r" b="b"/>
            <a:pathLst>
              <a:path w="4960" h="2752">
                <a:moveTo>
                  <a:pt x="0" y="0"/>
                </a:moveTo>
                <a:lnTo>
                  <a:pt x="0" y="324"/>
                </a:lnTo>
                <a:lnTo>
                  <a:pt x="0" y="1992"/>
                </a:lnTo>
                <a:lnTo>
                  <a:pt x="0" y="2752"/>
                </a:lnTo>
                <a:lnTo>
                  <a:pt x="4960" y="2752"/>
                </a:lnTo>
                <a:lnTo>
                  <a:pt x="4960" y="1992"/>
                </a:lnTo>
                <a:lnTo>
                  <a:pt x="4960" y="324"/>
                </a:lnTo>
                <a:lnTo>
                  <a:pt x="4960" y="0"/>
                </a:lnTo>
                <a:lnTo>
                  <a:pt x="4960" y="0"/>
                </a:lnTo>
                <a:lnTo>
                  <a:pt x="4734" y="34"/>
                </a:lnTo>
                <a:lnTo>
                  <a:pt x="4510" y="64"/>
                </a:lnTo>
                <a:lnTo>
                  <a:pt x="4284" y="90"/>
                </a:lnTo>
                <a:lnTo>
                  <a:pt x="4060" y="114"/>
                </a:lnTo>
                <a:lnTo>
                  <a:pt x="3836" y="132"/>
                </a:lnTo>
                <a:lnTo>
                  <a:pt x="3614" y="146"/>
                </a:lnTo>
                <a:lnTo>
                  <a:pt x="3392" y="158"/>
                </a:lnTo>
                <a:lnTo>
                  <a:pt x="3174" y="166"/>
                </a:lnTo>
                <a:lnTo>
                  <a:pt x="2960" y="172"/>
                </a:lnTo>
                <a:lnTo>
                  <a:pt x="2748" y="174"/>
                </a:lnTo>
                <a:lnTo>
                  <a:pt x="2542" y="174"/>
                </a:lnTo>
                <a:lnTo>
                  <a:pt x="2338" y="174"/>
                </a:lnTo>
                <a:lnTo>
                  <a:pt x="2140" y="170"/>
                </a:lnTo>
                <a:lnTo>
                  <a:pt x="1948" y="164"/>
                </a:lnTo>
                <a:lnTo>
                  <a:pt x="1762" y="156"/>
                </a:lnTo>
                <a:lnTo>
                  <a:pt x="1582" y="148"/>
                </a:lnTo>
                <a:lnTo>
                  <a:pt x="1410" y="138"/>
                </a:lnTo>
                <a:lnTo>
                  <a:pt x="1244" y="128"/>
                </a:lnTo>
                <a:lnTo>
                  <a:pt x="1088" y="116"/>
                </a:lnTo>
                <a:lnTo>
                  <a:pt x="938" y="104"/>
                </a:lnTo>
                <a:lnTo>
                  <a:pt x="668" y="78"/>
                </a:lnTo>
                <a:lnTo>
                  <a:pt x="438" y="54"/>
                </a:lnTo>
                <a:lnTo>
                  <a:pt x="254" y="34"/>
                </a:lnTo>
                <a:lnTo>
                  <a:pt x="116" y="16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18" name="Freeform 5"/>
          <p:cNvSpPr>
            <a:spLocks noEditPoints="1"/>
          </p:cNvSpPr>
          <p:nvPr/>
        </p:nvSpPr>
        <p:spPr bwMode="gray">
          <a:xfrm>
            <a:off x="0" y="0"/>
            <a:ext cx="9144000" cy="6858000"/>
          </a:xfrm>
          <a:custGeom>
            <a:avLst/>
            <a:gdLst/>
            <a:ahLst/>
            <a:cxnLst/>
            <a:rect l="0" t="0" r="r" b="b"/>
            <a:pathLst>
              <a:path w="5760" h="4320">
                <a:moveTo>
                  <a:pt x="0" y="0"/>
                </a:moveTo>
                <a:lnTo>
                  <a:pt x="0" y="4320"/>
                </a:lnTo>
                <a:lnTo>
                  <a:pt x="5760" y="4320"/>
                </a:lnTo>
                <a:lnTo>
                  <a:pt x="5760" y="0"/>
                </a:lnTo>
                <a:lnTo>
                  <a:pt x="0" y="0"/>
                </a:lnTo>
                <a:close/>
                <a:moveTo>
                  <a:pt x="5444" y="4004"/>
                </a:moveTo>
                <a:lnTo>
                  <a:pt x="324" y="4004"/>
                </a:lnTo>
                <a:lnTo>
                  <a:pt x="324" y="324"/>
                </a:lnTo>
                <a:lnTo>
                  <a:pt x="5444" y="324"/>
                </a:lnTo>
                <a:lnTo>
                  <a:pt x="5444" y="40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74928" y="1447799"/>
            <a:ext cx="1113516" cy="4572001"/>
          </a:xfrm>
        </p:spPr>
        <p:txBody>
          <a:bodyPr vert="eaVert" anchor="ctr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738" y="1447799"/>
            <a:ext cx="4416936" cy="45720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8546" y="6365498"/>
            <a:ext cx="3859795" cy="22866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7369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970" y="927098"/>
            <a:ext cx="6343672" cy="709865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0524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>
            <a:xfrm>
              <a:off x="5283673" y="402165"/>
              <a:ext cx="3465769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 bwMode="gray">
            <a:xfrm rot="16200000">
              <a:off x="3105027" y="1765596"/>
              <a:ext cx="5995993" cy="3326809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/>
            <p:nvPr/>
          </p:nvSpPr>
          <p:spPr bwMode="gray">
            <a:xfrm rot="15687606">
              <a:off x="3320102" y="145837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7534" y="2257588"/>
            <a:ext cx="3090672" cy="3020344"/>
          </a:xfrm>
        </p:spPr>
        <p:txBody>
          <a:bodyPr anchor="ctr"/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261" y="2257588"/>
            <a:ext cx="3082516" cy="302034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914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440" y="2489200"/>
            <a:ext cx="3636980" cy="3530603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81" y="2489203"/>
            <a:ext cx="3636980" cy="353060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751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9918" y="2489200"/>
            <a:ext cx="3633502" cy="759290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6440" y="3248490"/>
            <a:ext cx="3636980" cy="277131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0581" y="2489200"/>
            <a:ext cx="3636979" cy="75663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0581" y="3245835"/>
            <a:ext cx="3636980" cy="27739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54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883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849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>
            <a:xfrm>
              <a:off x="5283673" y="402165"/>
              <a:ext cx="3465769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 bwMode="gray">
            <a:xfrm rot="16200000">
              <a:off x="2548536" y="1765596"/>
              <a:ext cx="5995993" cy="3326809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2" name="Freeform 5"/>
            <p:cNvSpPr/>
            <p:nvPr/>
          </p:nvSpPr>
          <p:spPr bwMode="gray">
            <a:xfrm rot="15687606">
              <a:off x="2769747" y="145837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1447800"/>
            <a:ext cx="2712590" cy="1495588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68927" y="1447800"/>
            <a:ext cx="3632850" cy="45720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866441" y="3086845"/>
            <a:ext cx="2712589" cy="2933701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7172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>
            <a:xfrm>
              <a:off x="5283673" y="402165"/>
              <a:ext cx="3465769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 bwMode="gray">
            <a:xfrm rot="16200000">
              <a:off x="2852610" y="1765596"/>
              <a:ext cx="5995993" cy="3326809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4" name="Freeform 5"/>
            <p:cNvSpPr/>
            <p:nvPr/>
          </p:nvSpPr>
          <p:spPr bwMode="gray">
            <a:xfrm rot="15687606">
              <a:off x="3074559" y="145837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1381390"/>
            <a:ext cx="2987089" cy="157480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722909" y="1320800"/>
            <a:ext cx="2791102" cy="42164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6440" y="3086100"/>
            <a:ext cx="2987089" cy="24511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048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0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Freeform 5"/>
            <p:cNvSpPr/>
            <p:nvPr/>
          </p:nvSpPr>
          <p:spPr bwMode="gray">
            <a:xfrm rot="21010068">
              <a:off x="6359946" y="179029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5" name="Freeform 24"/>
            <p:cNvSpPr/>
            <p:nvPr/>
          </p:nvSpPr>
          <p:spPr bwMode="gray">
            <a:xfrm>
              <a:off x="485023" y="1856450"/>
              <a:ext cx="8173954" cy="4535226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66440" y="927099"/>
            <a:ext cx="6345260" cy="709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382" y="2489200"/>
            <a:ext cx="6345260" cy="353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74443" y="6365498"/>
            <a:ext cx="990599" cy="22865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1" i="0">
                <a:solidFill>
                  <a:schemeClr val="accent1"/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8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0843" y="6365497"/>
            <a:ext cx="3859795" cy="2286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 b="1" i="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IN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2159DA2-D99E-5843-65EE-E411A2FB17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183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E8FE56-314A-7186-CF21-5BBF4E82F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200" b="0" i="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83464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6012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3444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0876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0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5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4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99C7817-48B3-4C3A-2783-151BEAF43F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481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lose-up of leaves">
            <a:extLst>
              <a:ext uri="{FF2B5EF4-FFF2-40B4-BE49-F238E27FC236}">
                <a16:creationId xmlns:a16="http://schemas.microsoft.com/office/drawing/2014/main" id="{D9FC518F-9E01-466E-D181-A25C4F11FDA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alphaModFix amt="35000"/>
          </a:blip>
          <a:srcRect l="164" r="10835" b="-1"/>
          <a:stretch>
            <a:fillRect/>
          </a:stretch>
        </p:blipFill>
        <p:spPr>
          <a:xfrm>
            <a:off x="20" y="10"/>
            <a:ext cx="9143980" cy="68579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206" y="2271449"/>
            <a:ext cx="7259587" cy="2847058"/>
          </a:xfrm>
        </p:spPr>
        <p:txBody>
          <a:bodyPr vert="horz" anchor="b">
            <a:normAutofit fontScale="90000"/>
          </a:bodyPr>
          <a:lstStyle/>
          <a:p>
            <a:pPr algn="l"/>
            <a:r>
              <a:rPr lang="en-US" sz="6500" dirty="0" err="1">
                <a:solidFill>
                  <a:srgbClr val="FFFFFF"/>
                </a:solidFill>
              </a:rPr>
              <a:t>Bellabeat</a:t>
            </a:r>
            <a:r>
              <a:rPr lang="en-US" sz="6500" dirty="0">
                <a:solidFill>
                  <a:srgbClr val="FFFFFF"/>
                </a:solidFill>
              </a:rPr>
              <a:t> Leaf — Portfolio Case Stud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2206" y="5098254"/>
            <a:ext cx="7259587" cy="750259"/>
          </a:xfrm>
        </p:spPr>
        <p:txBody>
          <a:bodyPr anchor="ctr">
            <a:normAutofit/>
          </a:bodyPr>
          <a:lstStyle/>
          <a:p>
            <a:pPr algn="l"/>
            <a:r>
              <a:rPr lang="en-IN" sz="1700">
                <a:solidFill>
                  <a:srgbClr val="FFFFFF"/>
                </a:solidFill>
              </a:rPr>
              <a:t>Smart Device Usage Analysis → Marketing Strategy</a:t>
            </a:r>
          </a:p>
          <a:p>
            <a:pPr algn="l"/>
            <a:r>
              <a:rPr lang="en-IN" sz="1700">
                <a:solidFill>
                  <a:srgbClr val="FFFFFF"/>
                </a:solidFill>
              </a:rPr>
              <a:t>(Mehar Fatima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36B6726-D120-DA37-589E-08CA24697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846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dirty="0"/>
              <a:t>Activity Heatmap (Hourl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7DFB5B-08E8-22B5-460D-90BF726310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2114" y="2011680"/>
            <a:ext cx="5899548" cy="484632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E801234-903B-EE93-F8D6-F4618D12E9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00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t>5. Share — Insights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sz="2000" dirty="0"/>
              <a:t>Users prioritize activity tracking; sleep tracking lags.</a:t>
            </a:r>
          </a:p>
          <a:p>
            <a:r>
              <a:rPr sz="2000" dirty="0"/>
              <a:t>Engagement intensity aligns with daily routines (afternoons).</a:t>
            </a:r>
          </a:p>
          <a:p>
            <a:r>
              <a:rPr sz="2000" dirty="0"/>
              <a:t>Marketing should reinforce consistent habits and celebrate progress.</a:t>
            </a:r>
          </a:p>
          <a:p>
            <a:r>
              <a:rPr sz="2000" dirty="0"/>
              <a:t>Clear visuals connect trends to actions stakeholders can back.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7D70C3-7A95-C946-C1EB-C7497791A3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833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06533E-72CC-BE12-4951-F2530062D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IN" dirty="0"/>
              <a:t>User Level Distribution of Key Daily Activity Metric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5333654-1D57-C3BB-3AB3-0B45349DC1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277723" y="2367279"/>
            <a:ext cx="6586117" cy="421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891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040908E-F91B-70FC-E092-113C49BC5C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04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28CED8-0A63-A6A6-6C7F-A076FFB9D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IN" dirty="0"/>
              <a:t>Average Minutes of Sleep Across User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DEDFDA1-B0E0-4E7A-617D-AD2C76AEA2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668621" y="2355087"/>
            <a:ext cx="5780691" cy="4308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898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B290E4A-CEAF-A3D6-F50F-AC744EA8EA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09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dirty="0"/>
              <a:t>6. Act — Recommendations for Leaf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43328"/>
            <a:ext cx="8229600" cy="4023360"/>
          </a:xfrm>
        </p:spPr>
        <p:txBody>
          <a:bodyPr>
            <a:normAutofit/>
          </a:bodyPr>
          <a:lstStyle/>
          <a:p>
            <a:r>
              <a:rPr sz="2000" dirty="0"/>
              <a:t>Sleep wellness campaigns: bedtime reminders, stress reduction prompts.</a:t>
            </a:r>
          </a:p>
          <a:p>
            <a:r>
              <a:rPr sz="2000" dirty="0"/>
              <a:t>Gamified streaks &amp; challenges: 7-day activity streaks; rewards for 10k steps.</a:t>
            </a:r>
          </a:p>
          <a:p>
            <a:r>
              <a:rPr sz="2000" dirty="0"/>
              <a:t>Timed nudges: Midday activity &amp; afternoon mindfulness prompts.</a:t>
            </a:r>
          </a:p>
          <a:p>
            <a:r>
              <a:rPr sz="2000" dirty="0"/>
              <a:t>Community &amp; influencer programs: social proof and shared goals.</a:t>
            </a:r>
          </a:p>
          <a:p>
            <a:r>
              <a:rPr sz="2000" dirty="0"/>
              <a:t>Differentiate Leaf: a fashionable, holistic wellness companion (bracelet/necklace/clip).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6528922-099F-2EFA-0819-A09EB39F97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392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t>Data Limitations &amp; Next Step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46176" y="2286000"/>
            <a:ext cx="384048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b="1"/>
            </a:pPr>
            <a:r>
              <a:rPr sz="2000" dirty="0"/>
              <a:t>Limitations</a:t>
            </a:r>
          </a:p>
          <a:p>
            <a:pPr lvl="1"/>
            <a:r>
              <a:rPr sz="2000" dirty="0"/>
              <a:t>Small, short-duration Fitbit sample.</a:t>
            </a:r>
          </a:p>
          <a:p>
            <a:pPr lvl="1"/>
            <a:r>
              <a:rPr sz="2000" dirty="0"/>
              <a:t>Not fully representative of </a:t>
            </a:r>
            <a:r>
              <a:rPr sz="2000" dirty="0" err="1"/>
              <a:t>Bellabeat’s</a:t>
            </a:r>
            <a:r>
              <a:rPr sz="2000" dirty="0"/>
              <a:t> female user base.</a:t>
            </a:r>
          </a:p>
          <a:p>
            <a:pPr lvl="1"/>
            <a:r>
              <a:rPr sz="2000" dirty="0"/>
              <a:t>Potential missingness in sleep/weight data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864608" y="2286000"/>
            <a:ext cx="384048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b="1"/>
            </a:pPr>
            <a:r>
              <a:rPr sz="2000" dirty="0"/>
              <a:t>Next Steps</a:t>
            </a:r>
          </a:p>
          <a:p>
            <a:pPr lvl="1"/>
            <a:r>
              <a:rPr sz="2000" dirty="0"/>
              <a:t>Leverage </a:t>
            </a:r>
            <a:r>
              <a:rPr sz="2000" dirty="0" err="1"/>
              <a:t>Bellabeat</a:t>
            </a:r>
            <a:r>
              <a:rPr sz="2000" dirty="0"/>
              <a:t> app data for scale and gender specificity.</a:t>
            </a:r>
          </a:p>
          <a:p>
            <a:pPr lvl="1"/>
            <a:r>
              <a:rPr sz="2000" dirty="0"/>
              <a:t>Surveys to capture motivations and barriers.</a:t>
            </a:r>
          </a:p>
          <a:p>
            <a:pPr lvl="1"/>
            <a:r>
              <a:rPr sz="2000" dirty="0"/>
              <a:t>Extend to other products (Time, Spring) for cross-sell insights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4B78CC-337D-1E81-28A0-04CA31D84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266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t>Thank You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31520" y="2279904"/>
            <a:ext cx="768096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sz="2000" dirty="0"/>
              <a:t>Contact: Mehar Fatima</a:t>
            </a:r>
            <a:br>
              <a:rPr sz="2000" dirty="0"/>
            </a:br>
            <a:r>
              <a:rPr sz="2000" dirty="0"/>
              <a:t>Portfolio Case Study — </a:t>
            </a:r>
            <a:r>
              <a:rPr sz="2000" dirty="0" err="1"/>
              <a:t>Bellabeat</a:t>
            </a:r>
            <a:r>
              <a:rPr sz="2000" dirty="0"/>
              <a:t> Leaf</a:t>
            </a:r>
            <a:br>
              <a:rPr sz="2000" dirty="0"/>
            </a:br>
            <a:endParaRPr sz="2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9BB101F-5E42-5301-DFE2-090E9A41F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882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/>
              <a:t>Executive Summa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31520" y="2462784"/>
            <a:ext cx="768096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 err="1"/>
              <a:t>Bellabeat</a:t>
            </a:r>
            <a:r>
              <a:rPr lang="en-US" sz="2400" dirty="0"/>
              <a:t> aims to grow in women’s wellness wearables. Using Fitbit public data, we examined daily activity and sleep patterns to understand how people use smart devices. Key findings: strong focus on activity tracking (steps-calories correlation), limited sleep logging, and inconsistent long-term engagement. Recommendations center on sleep wellness campaigns, gamified habit loops, timely nudges, and community-led branding to increase retention and brand affinity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33EB6206-5665-B162-B488-3AC568DC3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782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/>
              <a:t>Elevator Pitch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31520" y="2426208"/>
            <a:ext cx="768096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Position Leaf as a daily wellness companion that turns small routines into lasting habits. Use data-driven nudges for midday activity and bedtime consistency, reward streaks, and build community challenges. This will boost engagement, retention, and customer lifetime value in </a:t>
            </a:r>
            <a:r>
              <a:rPr lang="en-US" sz="2400" dirty="0" err="1"/>
              <a:t>Bellabeat’s</a:t>
            </a:r>
            <a:r>
              <a:rPr lang="en-US" sz="2400" dirty="0"/>
              <a:t> core audience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44849C-D722-32F8-2845-21043735FE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652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/>
              <a:t>1. Ask — Business Tas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N" sz="2000" b="1" dirty="0"/>
              <a:t>Goal</a:t>
            </a:r>
            <a:r>
              <a:rPr lang="en-IN" sz="2000" dirty="0"/>
              <a:t>: Identify smart device usage trends to guide </a:t>
            </a:r>
            <a:r>
              <a:rPr lang="en-IN" sz="2000" dirty="0" err="1"/>
              <a:t>Bellabeat</a:t>
            </a:r>
            <a:r>
              <a:rPr lang="en-IN" sz="2000" dirty="0"/>
              <a:t> Leaf marketing.</a:t>
            </a:r>
          </a:p>
          <a:p>
            <a:r>
              <a:rPr lang="en-IN" sz="2000" b="1" dirty="0"/>
              <a:t>Questions</a:t>
            </a:r>
            <a:r>
              <a:rPr lang="en-IN" sz="2000" dirty="0"/>
              <a:t>: What trends exist? How do they apply to </a:t>
            </a:r>
            <a:r>
              <a:rPr lang="en-IN" sz="2000" dirty="0" err="1"/>
              <a:t>Bellabeat</a:t>
            </a:r>
            <a:r>
              <a:rPr lang="en-IN" sz="2000" dirty="0"/>
              <a:t> customers? How do they inform marketing?</a:t>
            </a:r>
          </a:p>
          <a:p>
            <a:r>
              <a:rPr lang="en-IN" sz="2000" b="1" dirty="0"/>
              <a:t>Stakeholders</a:t>
            </a:r>
            <a:r>
              <a:rPr lang="en-IN" sz="2000" dirty="0"/>
              <a:t>: Urška Sršen (CCO), Sando Mur (Exec), </a:t>
            </a:r>
            <a:r>
              <a:rPr lang="en-IN" sz="2000" dirty="0" err="1"/>
              <a:t>Bellabeat</a:t>
            </a:r>
            <a:r>
              <a:rPr lang="en-IN" sz="2000" dirty="0"/>
              <a:t> Marketing Analytics.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62AF51-94E6-BE8C-DCE5-A13EDE6589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77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t>2. Prepare — Data Sour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sz="2000" b="1" dirty="0"/>
              <a:t>Primary</a:t>
            </a:r>
            <a:r>
              <a:rPr sz="2000" dirty="0"/>
              <a:t>: Fitbit Fitness Tracker data (Kaggle, CC0). ~30 users; activity, calories, sleep, intensities.</a:t>
            </a:r>
          </a:p>
          <a:p>
            <a:r>
              <a:rPr sz="2000" b="1" dirty="0"/>
              <a:t>Strengths</a:t>
            </a:r>
            <a:r>
              <a:rPr sz="2000" dirty="0"/>
              <a:t>: Real-world usage; multiple wellness dimensions.</a:t>
            </a:r>
          </a:p>
          <a:p>
            <a:r>
              <a:rPr sz="2000" b="1" dirty="0"/>
              <a:t>Limitations</a:t>
            </a:r>
            <a:r>
              <a:rPr sz="2000" dirty="0"/>
              <a:t>: Small sample; short duration; not fully representative of </a:t>
            </a:r>
            <a:r>
              <a:rPr sz="2000" dirty="0" err="1"/>
              <a:t>Bellabeat’s</a:t>
            </a:r>
            <a:r>
              <a:rPr sz="2000" dirty="0"/>
              <a:t> female user base.</a:t>
            </a:r>
          </a:p>
          <a:p>
            <a:r>
              <a:rPr sz="2000" b="1" dirty="0"/>
              <a:t>Mitigation</a:t>
            </a:r>
            <a:r>
              <a:rPr sz="2000" dirty="0"/>
              <a:t>: Treat as directional; combine with </a:t>
            </a:r>
            <a:r>
              <a:rPr sz="2000" dirty="0" err="1"/>
              <a:t>Bellabeat</a:t>
            </a:r>
            <a:r>
              <a:rPr sz="2000" dirty="0"/>
              <a:t> app data where possible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B5E84B8-ED8E-F78F-0977-A162556686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185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t>3. Process — Cleaning &amp; Prepa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sz="2000" dirty="0"/>
              <a:t>Consolidated daily activity, sleep (and weight if present) by user and date.</a:t>
            </a:r>
          </a:p>
          <a:p>
            <a:r>
              <a:rPr sz="2000" dirty="0"/>
              <a:t>Removed duplicates, standardized dates, handled nulls, and filtered incomplete logs.</a:t>
            </a:r>
          </a:p>
          <a:p>
            <a:r>
              <a:rPr sz="2000" dirty="0"/>
              <a:t>Created derived fields: active minutes, sleep efficiency, steps-to-calories ratio.</a:t>
            </a:r>
          </a:p>
          <a:p>
            <a:r>
              <a:rPr sz="2000" dirty="0"/>
              <a:t>Outcome: Analysis-ready table linking activity and sleep per user-day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64D53DC-8A23-31B6-6E40-96052A2EBA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6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t>4. Analyze — Finding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8640" y="2414016"/>
            <a:ext cx="384048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b="1"/>
            </a:pPr>
            <a:r>
              <a:rPr sz="2000" dirty="0"/>
              <a:t>Activity &amp; Engagement</a:t>
            </a:r>
          </a:p>
          <a:p>
            <a:pPr lvl="1"/>
            <a:r>
              <a:rPr sz="2000" dirty="0"/>
              <a:t>Avg steps ≈ 7.6k (below 10k benchmark).</a:t>
            </a:r>
          </a:p>
          <a:p>
            <a:pPr lvl="1"/>
            <a:r>
              <a:rPr sz="2000" dirty="0"/>
              <a:t>Strong steps ↔ calories correlation.</a:t>
            </a:r>
          </a:p>
          <a:p>
            <a:pPr lvl="1"/>
            <a:r>
              <a:rPr sz="2000" dirty="0"/>
              <a:t>Peak device use: 12–6 pm; weekend dips.</a:t>
            </a:r>
          </a:p>
          <a:p>
            <a:pPr lvl="1"/>
            <a:r>
              <a:rPr sz="2000" dirty="0"/>
              <a:t>Only ~1/3 users track daily (consistency gap)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864608" y="2414016"/>
            <a:ext cx="384048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b="1"/>
            </a:pPr>
            <a:r>
              <a:rPr sz="2000" dirty="0"/>
              <a:t>Sleep Insights</a:t>
            </a:r>
          </a:p>
          <a:p>
            <a:pPr lvl="1"/>
            <a:r>
              <a:rPr sz="2000" dirty="0"/>
              <a:t>Avg sleep ≈ 6.9 hours (below 7–9 guideline).</a:t>
            </a:r>
          </a:p>
          <a:p>
            <a:pPr lvl="1"/>
            <a:r>
              <a:rPr sz="2000" dirty="0"/>
              <a:t>Sleep logs sparser than activity logs.</a:t>
            </a:r>
          </a:p>
          <a:p>
            <a:pPr lvl="1"/>
            <a:r>
              <a:rPr sz="2000" dirty="0"/>
              <a:t>Users who log sleep often show higher overall engagement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23A524C-39EA-2950-9AC0-7894041EEE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38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dirty="0"/>
              <a:t>Steps vs Calor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F798CB-3460-8646-1F51-3AC07F594C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6828" y="2320324"/>
            <a:ext cx="5710343" cy="4339237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9C9C74-6322-3D12-23A2-AC5291E27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693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dirty="0"/>
              <a:t>Sleep Duration Distribu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99FBAA-82C5-F20E-B7C2-17B9917C8D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9274" y="2034363"/>
            <a:ext cx="6205452" cy="4823637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Ion Boardroom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18</TotalTime>
  <Words>614</Words>
  <Application>Microsoft Office PowerPoint</Application>
  <PresentationFormat>On-screen Show (4:3)</PresentationFormat>
  <Paragraphs>59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ptos</vt:lpstr>
      <vt:lpstr>Arial</vt:lpstr>
      <vt:lpstr>Century Gothic</vt:lpstr>
      <vt:lpstr>Wingdings 3</vt:lpstr>
      <vt:lpstr>Ion Boardroom</vt:lpstr>
      <vt:lpstr>think-cell Slide</vt:lpstr>
      <vt:lpstr>Bellabeat Leaf — Portfolio Case Study</vt:lpstr>
      <vt:lpstr>Executive Summary</vt:lpstr>
      <vt:lpstr>Elevator Pitch</vt:lpstr>
      <vt:lpstr>1. Ask — Business Task</vt:lpstr>
      <vt:lpstr>2. Prepare — Data Sources</vt:lpstr>
      <vt:lpstr>3. Process — Cleaning &amp; Preparation</vt:lpstr>
      <vt:lpstr>4. Analyze — Findings</vt:lpstr>
      <vt:lpstr>Steps vs Calories</vt:lpstr>
      <vt:lpstr>Sleep Duration Distribution</vt:lpstr>
      <vt:lpstr>Activity Heatmap (Hourly)</vt:lpstr>
      <vt:lpstr>5. Share — Insights Story</vt:lpstr>
      <vt:lpstr>User Level Distribution of Key Daily Activity Metrics</vt:lpstr>
      <vt:lpstr>Average Minutes of Sleep Across Users</vt:lpstr>
      <vt:lpstr>6. Act — Recommendations for Leaf</vt:lpstr>
      <vt:lpstr>Data Limitations &amp; Next Steps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>generated using python-pptx</dc:description>
  <cp:lastModifiedBy>Mehar Fatima</cp:lastModifiedBy>
  <cp:revision>2</cp:revision>
  <dcterms:created xsi:type="dcterms:W3CDTF">2013-01-27T09:14:16Z</dcterms:created>
  <dcterms:modified xsi:type="dcterms:W3CDTF">2025-08-24T17:56:26Z</dcterms:modified>
  <cp:category/>
</cp:coreProperties>
</file>